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953" r:id="rId2"/>
    <p:sldId id="958" r:id="rId3"/>
    <p:sldId id="961" r:id="rId4"/>
    <p:sldId id="962" r:id="rId5"/>
  </p:sldIdLst>
  <p:sldSz cx="12198350" cy="6859588"/>
  <p:notesSz cx="6858000" cy="9144000"/>
  <p:custShowLst>
    <p:custShow name="5.2 棚出し~出荷" id="0">
      <p:sldLst/>
    </p:custShow>
    <p:custShow name="3.3 購入オーダー明細の確認（直購品）" id="1">
      <p:sldLst/>
    </p:custShow>
    <p:custShow name="5.1引当5.2棚出~出荷" id="2">
      <p:sldLst/>
    </p:custShow>
  </p:custShowLst>
  <p:custDataLst>
    <p:tags r:id="rId8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5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  <p15:guide id="3" orient="horz" pos="817" userDrawn="1">
          <p15:clr>
            <a:srgbClr val="A4A3A4"/>
          </p15:clr>
        </p15:guide>
        <p15:guide id="4" orient="horz" pos="4033" userDrawn="1">
          <p15:clr>
            <a:srgbClr val="A4A3A4"/>
          </p15:clr>
        </p15:guide>
        <p15:guide id="5" pos="242" userDrawn="1">
          <p15:clr>
            <a:srgbClr val="A4A3A4"/>
          </p15:clr>
        </p15:guide>
        <p15:guide id="6" pos="7346" userDrawn="1">
          <p15:clr>
            <a:srgbClr val="A4A3A4"/>
          </p15:clr>
        </p15:guide>
        <p15:guide id="7" pos="7490" userDrawn="1">
          <p15:clr>
            <a:srgbClr val="A4A3A4"/>
          </p15:clr>
        </p15:guide>
        <p15:guide id="8" pos="194" userDrawn="1">
          <p15:clr>
            <a:srgbClr val="A4A3A4"/>
          </p15:clr>
        </p15:guide>
        <p15:guide id="9" pos="722" userDrawn="1">
          <p15:clr>
            <a:srgbClr val="A4A3A4"/>
          </p15:clr>
        </p15:guide>
        <p15:guide id="10" pos="2594" userDrawn="1">
          <p15:clr>
            <a:srgbClr val="A4A3A4"/>
          </p15:clr>
        </p15:guide>
        <p15:guide id="11" pos="3602" userDrawn="1">
          <p15:clr>
            <a:srgbClr val="A4A3A4"/>
          </p15:clr>
        </p15:guide>
        <p15:guide id="12" pos="6914" userDrawn="1">
          <p15:clr>
            <a:srgbClr val="A4A3A4"/>
          </p15:clr>
        </p15:guide>
        <p15:guide id="13" orient="horz" pos="4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715C"/>
    <a:srgbClr val="BFBFB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37" autoAdjust="0"/>
    <p:restoredTop sz="95238" autoAdjust="0"/>
  </p:normalViewPr>
  <p:slideViewPr>
    <p:cSldViewPr snapToObjects="1" showGuides="1">
      <p:cViewPr varScale="1">
        <p:scale>
          <a:sx n="87" d="100"/>
          <a:sy n="87" d="100"/>
        </p:scale>
        <p:origin x="792" y="77"/>
      </p:cViewPr>
      <p:guideLst>
        <p:guide orient="horz" pos="385"/>
        <p:guide orient="horz" pos="913"/>
        <p:guide orient="horz" pos="817"/>
        <p:guide orient="horz" pos="4033"/>
        <p:guide pos="242"/>
        <p:guide pos="7346"/>
        <p:guide pos="7490"/>
        <p:guide pos="194"/>
        <p:guide pos="722"/>
        <p:guide pos="2594"/>
        <p:guide pos="3602"/>
        <p:guide pos="6914"/>
        <p:guide orient="horz" pos="481"/>
      </p:guideLst>
    </p:cSldViewPr>
  </p:slideViewPr>
  <p:outlineViewPr>
    <p:cViewPr>
      <p:scale>
        <a:sx n="33" d="100"/>
        <a:sy n="33" d="100"/>
      </p:scale>
      <p:origin x="0" y="48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Objects="1" showGuides="1">
      <p:cViewPr varScale="1">
        <p:scale>
          <a:sx n="63" d="100"/>
          <a:sy n="63" d="100"/>
        </p:scale>
        <p:origin x="246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10.12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10.12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6325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FORCE scope &amp; process signoff with SC MKT / Project FORCE / 6th June 2018 /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43115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120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" name="think-cell スライド" r:id="rId6" imgW="216" imgH="216" progId="TCLayout.ActiveDocument.1">
                  <p:embed/>
                </p:oleObj>
              </mc:Choice>
              <mc:Fallback>
                <p:oleObj name="think-cell スライド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277495" y="6489340"/>
            <a:ext cx="1161288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6210" y="1488812"/>
            <a:ext cx="11311765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9385" y="534195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 in one li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36575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業務マニュアル＜ビジネスエリア名＞</a:t>
            </a:r>
            <a:endParaRPr lang="en-GB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2800"/>
        </a:lnSpc>
        <a:spcBef>
          <a:spcPts val="0"/>
        </a:spcBef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752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128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07975" y="303978"/>
            <a:ext cx="11582399" cy="533528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ja-JP" sz="3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3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整備　システム改修のご案内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433468"/>
              </p:ext>
            </p:extLst>
          </p:nvPr>
        </p:nvGraphicFramePr>
        <p:xfrm>
          <a:off x="498474" y="1967395"/>
          <a:ext cx="11201400" cy="1966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1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3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459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2514">
                  <a:extLst>
                    <a:ext uri="{9D8B030D-6E8A-4147-A177-3AD203B41FA5}">
                      <a16:colId xmlns:a16="http://schemas.microsoft.com/office/drawing/2014/main" val="1259874269"/>
                    </a:ext>
                  </a:extLst>
                </a:gridCol>
              </a:tblGrid>
              <a:tr h="28714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b="0" dirty="0" smtClean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#</a:t>
                      </a:r>
                      <a:endParaRPr kumimoji="1" lang="ja-JP" altLang="en-US" sz="1200" b="0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 kern="1200" dirty="0" smtClean="0">
                          <a:solidFill>
                            <a:schemeClr val="l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項目</a:t>
                      </a:r>
                      <a:endParaRPr kumimoji="1" lang="ja-JP" altLang="en-US" sz="1200" b="0" kern="1200" dirty="0">
                        <a:solidFill>
                          <a:schemeClr val="l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b="0" kern="1200" dirty="0" smtClean="0">
                          <a:solidFill>
                            <a:schemeClr val="l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改修内容</a:t>
                      </a:r>
                      <a:endParaRPr kumimoji="1" lang="ja-JP" altLang="en-US" sz="1200" b="0" kern="1200" dirty="0">
                        <a:solidFill>
                          <a:schemeClr val="l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b="0" kern="1200" dirty="0" smtClean="0">
                          <a:solidFill>
                            <a:schemeClr val="l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補足説明</a:t>
                      </a:r>
                      <a:endParaRPr kumimoji="1" lang="ja-JP" altLang="en-US" sz="1200" b="0" kern="1200" dirty="0">
                        <a:solidFill>
                          <a:schemeClr val="l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b="0" kern="1200" dirty="0" smtClean="0">
                          <a:solidFill>
                            <a:schemeClr val="l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参照ページ</a:t>
                      </a:r>
                      <a:endParaRPr kumimoji="1" lang="ja-JP" altLang="en-US" sz="1200" b="0" kern="1200" dirty="0">
                        <a:solidFill>
                          <a:schemeClr val="l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上訂正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531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注変更オーダーリストの追加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注変更オーダー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K001234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・・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リストビューを新しく追加しました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上訂正を行ったジョブカードおよび受注変更オーダー番号を一覧で確認ができるようになりました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イトマップまたはメニューバーのジョブカードの注文→受注変更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P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545968"/>
                  </a:ext>
                </a:extLst>
              </a:tr>
              <a:tr h="23760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見積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531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見積・パーツ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タブ内に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を表示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見積内 パーツ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タブのラインアイテム上に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の表示を追加しました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をクリックすると、対象の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遷移することができます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P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466566"/>
                  </a:ext>
                </a:extLst>
              </a:tr>
              <a:tr h="23760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マスタ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531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リストにドア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を表示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7531" marT="7531" marB="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リストのライン上にドア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表示を追加しました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が使用している車両管理番号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ドア番号等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入力・変更ができます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したドア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はジョブカード画面 </a:t>
                      </a:r>
                      <a:r>
                        <a:rPr lang="en-US" altLang="ja-JP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lang="ja-JP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情報に表示されます。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P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8C8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40094"/>
                  </a:ext>
                </a:extLst>
              </a:tr>
            </a:tbl>
          </a:graphicData>
        </a:graphic>
      </p:graphicFrame>
      <p:sp>
        <p:nvSpPr>
          <p:cNvPr id="4" name="タイトル 6"/>
          <p:cNvSpPr txBox="1">
            <a:spLocks/>
          </p:cNvSpPr>
          <p:nvPr/>
        </p:nvSpPr>
        <p:spPr>
          <a:xfrm>
            <a:off x="498474" y="1369999"/>
            <a:ext cx="11261724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kumimoji="1" lang="en-US" altLang="ja-JP" dirty="0" smtClean="0">
                <a:solidFill>
                  <a:schemeClr val="dk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2</a:t>
            </a:r>
            <a:r>
              <a:rPr kumimoji="1" lang="ja-JP" altLang="en-US" dirty="0" smtClean="0">
                <a:solidFill>
                  <a:schemeClr val="dk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月</a:t>
            </a:r>
            <a:r>
              <a:rPr kumimoji="1" lang="en-US" altLang="ja-JP" dirty="0" smtClean="0">
                <a:solidFill>
                  <a:schemeClr val="dk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en-US" altLang="ja-JP" dirty="0">
                <a:solidFill>
                  <a:schemeClr val="dk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ja-JP" altLang="en-US" dirty="0" smtClean="0">
                <a:solidFill>
                  <a:schemeClr val="dk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に行われたシステム改修の内容についてご案内いたします。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6385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fontAlgn="b">
              <a:lnSpc>
                <a:spcPct val="100000"/>
              </a:lnSpc>
              <a:defRPr/>
            </a:pP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1.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受注変更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オーダー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K001234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・・・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のリストを新しく追加しました。</a:t>
            </a:r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mtClean="0"/>
              <a:t> </a:t>
            </a:r>
            <a:fld id="{52531704-8F80-415D-BD2B-6B9991AE822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80" name="タイトル 8"/>
          <p:cNvSpPr txBox="1">
            <a:spLocks/>
          </p:cNvSpPr>
          <p:nvPr/>
        </p:nvSpPr>
        <p:spPr>
          <a:xfrm>
            <a:off x="429385" y="991394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fontAlgn="b">
              <a:lnSpc>
                <a:spcPct val="100000"/>
              </a:lnSpc>
              <a:defRPr/>
            </a:pP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売上訂正を行ったジョブカードおよび受注変更オーダー番号の確認ができるようになりました</a:t>
            </a: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lang="en-US" altLang="ja-JP" sz="1800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0" fontAlgn="b">
              <a:lnSpc>
                <a:spcPct val="100000"/>
              </a:lnSpc>
              <a:defRPr/>
            </a:pP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トマップまたはメニューバーの「ジョブカードの注文」から「受注変更」を選択してください。</a:t>
            </a:r>
            <a:endParaRPr lang="en-US" altLang="ja-JP" sz="1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412" y="1829594"/>
            <a:ext cx="9915525" cy="46196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50" name="正方形/長方形 49"/>
          <p:cNvSpPr/>
          <p:nvPr/>
        </p:nvSpPr>
        <p:spPr>
          <a:xfrm>
            <a:off x="6261407" y="1805360"/>
            <a:ext cx="1524000" cy="3416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sp>
        <p:nvSpPr>
          <p:cNvPr id="51" name="正方形/長方形 50"/>
          <p:cNvSpPr/>
          <p:nvPr/>
        </p:nvSpPr>
        <p:spPr>
          <a:xfrm>
            <a:off x="1544383" y="2062217"/>
            <a:ext cx="685800" cy="2770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23347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350" y="1720056"/>
            <a:ext cx="9391650" cy="34194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">
              <a:lnSpc>
                <a:spcPct val="100000"/>
              </a:lnSpc>
              <a:defRPr/>
            </a:pP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.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見積内 パーツ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作業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油脂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タブの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ラインアイテム上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にワーク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オーダ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ー番号を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追加しました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mtClean="0"/>
              <a:t> </a:t>
            </a:r>
            <a:fld id="{52531704-8F80-415D-BD2B-6B9991AE822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80" name="タイトル 8"/>
          <p:cNvSpPr txBox="1">
            <a:spLocks/>
          </p:cNvSpPr>
          <p:nvPr/>
        </p:nvSpPr>
        <p:spPr>
          <a:xfrm>
            <a:off x="429385" y="991394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b">
              <a:lnSpc>
                <a:spcPct val="100000"/>
              </a:lnSpc>
              <a:defRPr/>
            </a:pPr>
            <a:r>
              <a:rPr lang="en-US" altLang="ja-JP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WO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番号をクリックすると</a:t>
            </a: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ラインアイテムが入力されている</a:t>
            </a:r>
            <a:r>
              <a:rPr lang="en-US" altLang="ja-JP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WO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に遷移することができます</a:t>
            </a: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lang="en-US" altLang="ja-JP" sz="1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2394871" y="2381281"/>
            <a:ext cx="1296000" cy="3416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sp>
        <p:nvSpPr>
          <p:cNvPr id="11" name="正方形/長方形 10"/>
          <p:cNvSpPr/>
          <p:nvPr/>
        </p:nvSpPr>
        <p:spPr>
          <a:xfrm>
            <a:off x="8127079" y="3431756"/>
            <a:ext cx="1219200" cy="144583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sp>
        <p:nvSpPr>
          <p:cNvPr id="8" name="タイトル 8"/>
          <p:cNvSpPr txBox="1">
            <a:spLocks/>
          </p:cNvSpPr>
          <p:nvPr/>
        </p:nvSpPr>
        <p:spPr>
          <a:xfrm>
            <a:off x="1403350" y="5271737"/>
            <a:ext cx="3733800" cy="29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b">
              <a:lnSpc>
                <a:spcPct val="100000"/>
              </a:lnSpc>
              <a:defRPr/>
            </a:pPr>
            <a:r>
              <a:rPr lang="en-US" altLang="ja-JP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明細項目タブには</a:t>
            </a:r>
            <a:r>
              <a:rPr lang="en-US" altLang="ja-JP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WO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番号は表示されません。</a:t>
            </a:r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124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80" y="1186937"/>
            <a:ext cx="10080000" cy="231493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9" name="タイトル 8"/>
          <p:cNvSpPr>
            <a:spLocks noGrp="1"/>
          </p:cNvSpPr>
          <p:nvPr>
            <p:ph type="title"/>
          </p:nvPr>
        </p:nvSpPr>
        <p:spPr>
          <a:xfrm>
            <a:off x="429385" y="381794"/>
            <a:ext cx="11308590" cy="381000"/>
          </a:xfrm>
        </p:spPr>
        <p:txBody>
          <a:bodyPr/>
          <a:lstStyle/>
          <a:p>
            <a:pPr lvl="0" fontAlgn="b">
              <a:lnSpc>
                <a:spcPct val="100000"/>
              </a:lnSpc>
              <a:defRPr/>
            </a:pP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3.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車両リストのライン上にドア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No.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の表示を追加しました。</a:t>
            </a:r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mtClean="0"/>
              <a:t> </a:t>
            </a:r>
            <a:fld id="{52531704-8F80-415D-BD2B-6B9991AE822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80" name="タイトル 8"/>
          <p:cNvSpPr txBox="1">
            <a:spLocks/>
          </p:cNvSpPr>
          <p:nvPr/>
        </p:nvSpPr>
        <p:spPr>
          <a:xfrm>
            <a:off x="429385" y="838993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fontAlgn="b">
              <a:lnSpc>
                <a:spcPct val="100000"/>
              </a:lnSpc>
              <a:defRPr/>
            </a:pP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顧客が使用している車両管理番号</a:t>
            </a:r>
            <a:r>
              <a:rPr lang="en-US" altLang="ja-JP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ドア番号等</a:t>
            </a:r>
            <a:r>
              <a:rPr lang="en-US" altLang="ja-JP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の入力・変更ができます</a:t>
            </a: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lang="en-US" altLang="ja-JP" sz="1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正方形/長方形 49"/>
          <p:cNvSpPr/>
          <p:nvPr/>
        </p:nvSpPr>
        <p:spPr>
          <a:xfrm>
            <a:off x="9916551" y="1143794"/>
            <a:ext cx="609600" cy="3416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sp>
        <p:nvSpPr>
          <p:cNvPr id="11" name="正方形/長方形 10"/>
          <p:cNvSpPr/>
          <p:nvPr/>
        </p:nvSpPr>
        <p:spPr>
          <a:xfrm>
            <a:off x="9047177" y="2312864"/>
            <a:ext cx="1048029" cy="5607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80" y="4267994"/>
            <a:ext cx="10080000" cy="211415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4" name="正方形/長方形 13"/>
          <p:cNvSpPr/>
          <p:nvPr/>
        </p:nvSpPr>
        <p:spPr>
          <a:xfrm>
            <a:off x="9581023" y="5811879"/>
            <a:ext cx="1328584" cy="2559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/>
          </a:p>
        </p:txBody>
      </p:sp>
      <p:sp>
        <p:nvSpPr>
          <p:cNvPr id="15" name="タイトル 8"/>
          <p:cNvSpPr txBox="1">
            <a:spLocks/>
          </p:cNvSpPr>
          <p:nvPr/>
        </p:nvSpPr>
        <p:spPr>
          <a:xfrm>
            <a:off x="429385" y="3886994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959" rtl="0" eaLnBrk="1" latinLnBrk="0" hangingPunct="1">
              <a:lnSpc>
                <a:spcPts val="28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fontAlgn="b">
              <a:lnSpc>
                <a:spcPct val="100000"/>
              </a:lnSpc>
              <a:defRPr/>
            </a:pP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入力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したドア</a:t>
            </a:r>
            <a:r>
              <a:rPr lang="en-US" altLang="ja-JP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No.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は</a:t>
            </a:r>
            <a:r>
              <a:rPr lang="ja-JP" altLang="en-US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ジョブカード画面 </a:t>
            </a:r>
            <a:r>
              <a:rPr lang="en-US" altLang="ja-JP" sz="18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en-US" altLang="ja-JP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.</a:t>
            </a:r>
            <a:r>
              <a:rPr lang="ja-JP" altLang="en-US" sz="1800" dirty="0">
                <a:latin typeface="Meiryo UI" panose="020B0604030504040204" pitchFamily="50" charset="-128"/>
                <a:ea typeface="Meiryo UI" panose="020B0604030504040204" pitchFamily="50" charset="-128"/>
              </a:rPr>
              <a:t>車両情報に表示されます。</a:t>
            </a:r>
            <a:endParaRPr lang="en-US" altLang="ja-JP" sz="18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687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vUN_2T4qiLNB22tjZZA"/>
</p:tagLst>
</file>

<file path=ppt/theme/theme1.xml><?xml version="1.0" encoding="utf-8"?>
<a:theme xmlns:a="http://schemas.openxmlformats.org/drawingml/2006/main" name="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Trucks_Master_November_2015 16-9</Template>
  <TotalTime>0</TotalTime>
  <Words>367</Words>
  <Application>Microsoft Office PowerPoint</Application>
  <PresentationFormat>ユーザー設定</PresentationFormat>
  <Paragraphs>40</Paragraphs>
  <Slides>4</Slides>
  <Notes>1</Notes>
  <HiddenSlides>0</HiddenSlides>
  <MMClips>0</MMClips>
  <ScaleCrop>false</ScaleCrop>
  <HeadingPairs>
    <vt:vector size="10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  <vt:variant>
        <vt:lpstr>目的別スライド ショー</vt:lpstr>
      </vt:variant>
      <vt:variant>
        <vt:i4>3</vt:i4>
      </vt:variant>
    </vt:vector>
  </HeadingPairs>
  <TitlesOfParts>
    <vt:vector size="14" baseType="lpstr">
      <vt:lpstr>Meiryo UI</vt:lpstr>
      <vt:lpstr>ＭＳ Ｐゴシック</vt:lpstr>
      <vt:lpstr>Arial</vt:lpstr>
      <vt:lpstr>CorpoS</vt:lpstr>
      <vt:lpstr>Daimler CS</vt:lpstr>
      <vt:lpstr>blank</vt:lpstr>
      <vt:lpstr>think-cell スライド</vt:lpstr>
      <vt:lpstr>FORCE 整備　システム改修のご案内</vt:lpstr>
      <vt:lpstr>1.　受注変更オーダー(K001234・・・)のリストを新しく追加しました。</vt:lpstr>
      <vt:lpstr>2.　見積内 パーツ/作業/油脂タブのラインアイテム上にワークオーダー番号を追加しました。</vt:lpstr>
      <vt:lpstr>3.　車両リストのライン上にドアNo.の表示を追加しました。</vt:lpstr>
      <vt:lpstr>5.2 棚出し~出荷</vt:lpstr>
      <vt:lpstr>3.3 購入オーダー明細の確認（直購品）</vt:lpstr>
      <vt:lpstr>5.1引当5.2棚出~出荷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CE ユーザーマニュアル</dc:title>
  <dc:creator>Saito, Kimitaka (575)</dc:creator>
  <cp:lastModifiedBy>Hario, Shinji (575-Extern)</cp:lastModifiedBy>
  <cp:revision>1526</cp:revision>
  <dcterms:created xsi:type="dcterms:W3CDTF">2018-08-03T00:14:22Z</dcterms:created>
  <dcterms:modified xsi:type="dcterms:W3CDTF">2020-12-10T09:09:55Z</dcterms:modified>
</cp:coreProperties>
</file>